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9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CDCDCD"/>
    <a:srgbClr val="F6F6F6"/>
    <a:srgbClr val="5A5A5A"/>
    <a:srgbClr val="8D8D8D"/>
    <a:srgbClr val="C60018"/>
    <a:srgbClr val="444444"/>
    <a:srgbClr val="E5E5E5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9:49.224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3:09:49.224" v="3" actId="27918"/>
        <pc:sldMkLst>
          <pc:docMk/>
          <pc:sldMk cId="236440730" sldId="40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695063317048331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Traffico viaggiatori</c:v>
                </c:pt>
              </c:strCache>
            </c:strRef>
          </c:tx>
          <c:spPr>
            <a:solidFill>
              <a:srgbClr val="CDCDCD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269.518333333301</c:v>
                </c:pt>
                <c:pt idx="1">
                  <c:v>14278.76</c:v>
                </c:pt>
                <c:pt idx="2">
                  <c:v>14234.0841666667</c:v>
                </c:pt>
                <c:pt idx="3">
                  <c:v>13989.9183333333</c:v>
                </c:pt>
                <c:pt idx="4">
                  <c:v>14192.7133333333</c:v>
                </c:pt>
                <c:pt idx="5">
                  <c:v>14680.4273333333</c:v>
                </c:pt>
                <c:pt idx="6">
                  <c:v>15055.8178333333</c:v>
                </c:pt>
                <c:pt idx="7">
                  <c:v>15124.152</c:v>
                </c:pt>
                <c:pt idx="8">
                  <c:v>15304.7903333333</c:v>
                </c:pt>
                <c:pt idx="9">
                  <c:v>15679.432000000001</c:v>
                </c:pt>
                <c:pt idx="10">
                  <c:v>15800.8528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16.73749999999995</c:v>
                </c:pt>
                <c:pt idx="1">
                  <c:v>791.30833333333305</c:v>
                </c:pt>
                <c:pt idx="2">
                  <c:v>779.07666666666705</c:v>
                </c:pt>
                <c:pt idx="3">
                  <c:v>775.75833333333298</c:v>
                </c:pt>
                <c:pt idx="4">
                  <c:v>790.16250000000002</c:v>
                </c:pt>
                <c:pt idx="5">
                  <c:v>793.05</c:v>
                </c:pt>
                <c:pt idx="6">
                  <c:v>780.30416666666702</c:v>
                </c:pt>
                <c:pt idx="7">
                  <c:v>1012.3375</c:v>
                </c:pt>
                <c:pt idx="8">
                  <c:v>1111.9875</c:v>
                </c:pt>
                <c:pt idx="9">
                  <c:v>1160.3</c:v>
                </c:pt>
                <c:pt idx="10">
                  <c:v>1170.741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fico merc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111.4358333333298</c:v>
                </c:pt>
                <c:pt idx="1">
                  <c:v>3075.0916666666699</c:v>
                </c:pt>
                <c:pt idx="2">
                  <c:v>3114.4974999999999</c:v>
                </c:pt>
                <c:pt idx="3">
                  <c:v>3084.3791666666698</c:v>
                </c:pt>
                <c:pt idx="4">
                  <c:v>3131.9108333333302</c:v>
                </c:pt>
                <c:pt idx="5">
                  <c:v>3225.45166666667</c:v>
                </c:pt>
                <c:pt idx="6">
                  <c:v>3222.3150000000001</c:v>
                </c:pt>
                <c:pt idx="7">
                  <c:v>3283.7908333333298</c:v>
                </c:pt>
                <c:pt idx="8">
                  <c:v>3382.0668333333301</c:v>
                </c:pt>
                <c:pt idx="9">
                  <c:v>3388.2791666666699</c:v>
                </c:pt>
                <c:pt idx="10">
                  <c:v>3235.07441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ttura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313.2808333333</c:v>
                </c:pt>
                <c:pt idx="1">
                  <c:v>10322.555</c:v>
                </c:pt>
                <c:pt idx="2">
                  <c:v>10077.1675</c:v>
                </c:pt>
                <c:pt idx="3">
                  <c:v>9857.0010000000002</c:v>
                </c:pt>
                <c:pt idx="4">
                  <c:v>9776.7006666666693</c:v>
                </c:pt>
                <c:pt idx="5">
                  <c:v>9978.1352499999994</c:v>
                </c:pt>
                <c:pt idx="6">
                  <c:v>9999.1679999999997</c:v>
                </c:pt>
                <c:pt idx="7">
                  <c:v>9834.6158333333296</c:v>
                </c:pt>
                <c:pt idx="8">
                  <c:v>10060.2183333333</c:v>
                </c:pt>
                <c:pt idx="9">
                  <c:v>10152.6641666667</c:v>
                </c:pt>
                <c:pt idx="10">
                  <c:v>10156.3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Settori centrali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4570.2008333333297</c:v>
                </c:pt>
                <c:pt idx="1">
                  <c:v>4650.9224999999997</c:v>
                </c:pt>
                <c:pt idx="2">
                  <c:v>4549.5791666666701</c:v>
                </c:pt>
                <c:pt idx="3">
                  <c:v>4601.68</c:v>
                </c:pt>
                <c:pt idx="4">
                  <c:v>4643.5958333333301</c:v>
                </c:pt>
                <c:pt idx="5">
                  <c:v>4821.2974999999997</c:v>
                </c:pt>
                <c:pt idx="6">
                  <c:v>4885.0749999999998</c:v>
                </c:pt>
                <c:pt idx="7">
                  <c:v>4972.0209999999997</c:v>
                </c:pt>
                <c:pt idx="8">
                  <c:v>5127.7668333333304</c:v>
                </c:pt>
                <c:pt idx="9">
                  <c:v>5188.6708333333299</c:v>
                </c:pt>
                <c:pt idx="10">
                  <c:v>5406.654166666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Percentuale di donne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869850128369801</c:v>
                </c:pt>
                <c:pt idx="1">
                  <c:v>16.9864016168254</c:v>
                </c:pt>
                <c:pt idx="2">
                  <c:v>17.086566956641398</c:v>
                </c:pt>
                <c:pt idx="3">
                  <c:v>17.294466952361901</c:v>
                </c:pt>
                <c:pt idx="4">
                  <c:v>17.743488314596998</c:v>
                </c:pt>
                <c:pt idx="5">
                  <c:v>18.388368529331199</c:v>
                </c:pt>
                <c:pt idx="6">
                  <c:v>18.807508997179099</c:v>
                </c:pt>
                <c:pt idx="7">
                  <c:v>19.004231973653201</c:v>
                </c:pt>
                <c:pt idx="8">
                  <c:v>19.434275579273599</c:v>
                </c:pt>
                <c:pt idx="9">
                  <c:v>19.938913781608999</c:v>
                </c:pt>
                <c:pt idx="10">
                  <c:v>20.5233078920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4056853430511262E-2"/>
          <c:y val="0.86376820414170452"/>
          <c:w val="0.9331882171753324"/>
          <c:h val="0.106874244744039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362</cdr:x>
      <cdr:y>0.0606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099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FTE</a:t>
          </a:r>
        </a:p>
      </cdr:txBody>
    </cdr:sp>
  </cdr:relSizeAnchor>
  <cdr:relSizeAnchor xmlns:cdr="http://schemas.openxmlformats.org/drawingml/2006/chartDrawing">
    <cdr:from>
      <cdr:x>0.94709</cdr:x>
      <cdr:y>0</cdr:y>
    </cdr:from>
    <cdr:to>
      <cdr:x>1</cdr:x>
      <cdr:y>0.060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732319" y="0"/>
          <a:ext cx="48788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% </a:t>
          </a:r>
          <a:r>
            <a:rPr lang="de-CH" sz="11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coll</a:t>
          </a:r>
          <a:r>
            <a:rPr lang="de-CH" sz="11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15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rganico del Gruppo FF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90400367"/>
              </p:ext>
            </p:extLst>
          </p:nvPr>
        </p:nvGraphicFramePr>
        <p:xfrm>
          <a:off x="1494169" y="1886295"/>
          <a:ext cx="9220200" cy="4206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ollaboratrici e collaboratori a tempo pieno nella media annua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3883" y="5972418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6440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2DE4C76-AFBA-4ECC-9CE6-CD74933624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Organico del Grupp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co del Gruppo FFS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2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